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1462" r:id="rId5"/>
  </p:sldIdLst>
  <p:sldSz cx="12192000" cy="6858000"/>
  <p:notesSz cx="6985000" cy="9283700"/>
  <p:custDataLst>
    <p:tags r:id="rId7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3" pos="73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berto ochoa" initials="ao" lastIdx="30" clrIdx="0"/>
  <p:cmAuthor id="1" name="Omar A Lesage Almanza" initials="OALA" lastIdx="10" clrIdx="1"/>
  <p:cmAuthor id="2" name="Natalia A Barrera Tovar" initials="NABT" lastIdx="2" clrIdx="2"/>
  <p:cmAuthor id="3" name="Noemie Rosala" initials="NR" lastIdx="1" clrIdx="3">
    <p:extLst>
      <p:ext uri="{19B8F6BF-5375-455C-9EA6-DF929625EA0E}">
        <p15:presenceInfo xmlns:p15="http://schemas.microsoft.com/office/powerpoint/2012/main" userId="Noemie Rosala" providerId="None"/>
      </p:ext>
    </p:extLst>
  </p:cmAuthor>
  <p:cmAuthor id="4" name="Andrea Tellez" initials="AT" lastIdx="12" clrIdx="4">
    <p:extLst>
      <p:ext uri="{19B8F6BF-5375-455C-9EA6-DF929625EA0E}">
        <p15:presenceInfo xmlns:p15="http://schemas.microsoft.com/office/powerpoint/2012/main" userId="S::Andrea.Tellez@it.ey.com::cd3deef9-7a22-43f2-b5a9-3f04018288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7F7F7F"/>
    <a:srgbClr val="FFDC00"/>
    <a:srgbClr val="B3B3B3"/>
    <a:srgbClr val="FFD5D5"/>
    <a:srgbClr val="FCFDFC"/>
    <a:srgbClr val="F3DDF5"/>
    <a:srgbClr val="D10A2D"/>
    <a:srgbClr val="E5F2E2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4C980B-C3DF-406E-8028-36D63BB9348D}" v="5" dt="2021-11-14T17:10:09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660" autoAdjust="0"/>
    <p:restoredTop sz="93792" autoAdjust="0"/>
  </p:normalViewPr>
  <p:slideViewPr>
    <p:cSldViewPr snapToGrid="0">
      <p:cViewPr varScale="1">
        <p:scale>
          <a:sx n="99" d="100"/>
          <a:sy n="99" d="100"/>
        </p:scale>
        <p:origin x="1052" y="72"/>
      </p:cViewPr>
      <p:guideLst>
        <p:guide orient="horz" pos="2183"/>
        <p:guide pos="347"/>
        <p:guide pos="73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iovanni" userId="677dedc4-749f-42e3-8d26-88e6f4e2b968" providerId="ADAL" clId="{CF4C980B-C3DF-406E-8028-36D63BB9348D}"/>
    <pc:docChg chg="custSel modSld">
      <pc:chgData name="Giovanni" userId="677dedc4-749f-42e3-8d26-88e6f4e2b968" providerId="ADAL" clId="{CF4C980B-C3DF-406E-8028-36D63BB9348D}" dt="2021-11-14T17:10:47.746" v="9" actId="1076"/>
      <pc:docMkLst>
        <pc:docMk/>
      </pc:docMkLst>
      <pc:sldChg chg="addSp delSp modSp mod setBg">
        <pc:chgData name="Giovanni" userId="677dedc4-749f-42e3-8d26-88e6f4e2b968" providerId="ADAL" clId="{CF4C980B-C3DF-406E-8028-36D63BB9348D}" dt="2021-11-14T17:10:47.746" v="9" actId="1076"/>
        <pc:sldMkLst>
          <pc:docMk/>
          <pc:sldMk cId="3804724372" sldId="1462"/>
        </pc:sldMkLst>
        <pc:spChg chg="mod">
          <ac:chgData name="Giovanni" userId="677dedc4-749f-42e3-8d26-88e6f4e2b968" providerId="ADAL" clId="{CF4C980B-C3DF-406E-8028-36D63BB9348D}" dt="2021-11-14T17:08:27.604" v="4" actId="207"/>
          <ac:spMkLst>
            <pc:docMk/>
            <pc:sldMk cId="3804724372" sldId="1462"/>
            <ac:spMk id="6" creationId="{00000000-0000-0000-0000-000000000000}"/>
          </ac:spMkLst>
        </pc:spChg>
        <pc:spChg chg="mod">
          <ac:chgData name="Giovanni" userId="677dedc4-749f-42e3-8d26-88e6f4e2b968" providerId="ADAL" clId="{CF4C980B-C3DF-406E-8028-36D63BB9348D}" dt="2021-11-14T17:08:35.111" v="5" actId="207"/>
          <ac:spMkLst>
            <pc:docMk/>
            <pc:sldMk cId="3804724372" sldId="1462"/>
            <ac:spMk id="18" creationId="{B369C0E3-A531-4C8F-ADBF-69FD54C1EFB4}"/>
          </ac:spMkLst>
        </pc:spChg>
        <pc:spChg chg="mod">
          <ac:chgData name="Giovanni" userId="677dedc4-749f-42e3-8d26-88e6f4e2b968" providerId="ADAL" clId="{CF4C980B-C3DF-406E-8028-36D63BB9348D}" dt="2021-11-14T17:08:35.111" v="5" actId="207"/>
          <ac:spMkLst>
            <pc:docMk/>
            <pc:sldMk cId="3804724372" sldId="1462"/>
            <ac:spMk id="19" creationId="{9DC16683-AA02-45EB-89D7-D7249B271A4A}"/>
          </ac:spMkLst>
        </pc:spChg>
        <pc:spChg chg="mod">
          <ac:chgData name="Giovanni" userId="677dedc4-749f-42e3-8d26-88e6f4e2b968" providerId="ADAL" clId="{CF4C980B-C3DF-406E-8028-36D63BB9348D}" dt="2021-11-14T17:08:35.111" v="5" actId="207"/>
          <ac:spMkLst>
            <pc:docMk/>
            <pc:sldMk cId="3804724372" sldId="1462"/>
            <ac:spMk id="20" creationId="{BA76937A-0D66-4098-A4BA-D4C27A47DCB2}"/>
          </ac:spMkLst>
        </pc:spChg>
        <pc:spChg chg="mod">
          <ac:chgData name="Giovanni" userId="677dedc4-749f-42e3-8d26-88e6f4e2b968" providerId="ADAL" clId="{CF4C980B-C3DF-406E-8028-36D63BB9348D}" dt="2021-11-14T17:08:35.111" v="5" actId="207"/>
          <ac:spMkLst>
            <pc:docMk/>
            <pc:sldMk cId="3804724372" sldId="1462"/>
            <ac:spMk id="21" creationId="{51180CC9-6A38-4CCA-A256-2BF4038EACE5}"/>
          </ac:spMkLst>
        </pc:spChg>
        <pc:grpChg chg="del">
          <ac:chgData name="Giovanni" userId="677dedc4-749f-42e3-8d26-88e6f4e2b968" providerId="ADAL" clId="{CF4C980B-C3DF-406E-8028-36D63BB9348D}" dt="2021-11-14T17:08:41.080" v="6" actId="478"/>
          <ac:grpSpMkLst>
            <pc:docMk/>
            <pc:sldMk cId="3804724372" sldId="1462"/>
            <ac:grpSpMk id="13" creationId="{18549E6F-FC1F-49D4-95AA-229FBF7A67DA}"/>
          </ac:grpSpMkLst>
        </pc:grpChg>
        <pc:picChg chg="add mod">
          <ac:chgData name="Giovanni" userId="677dedc4-749f-42e3-8d26-88e6f4e2b968" providerId="ADAL" clId="{CF4C980B-C3DF-406E-8028-36D63BB9348D}" dt="2021-11-14T17:10:47.746" v="9" actId="1076"/>
          <ac:picMkLst>
            <pc:docMk/>
            <pc:sldMk cId="3804724372" sldId="1462"/>
            <ac:picMk id="22" creationId="{BADF08F7-6095-4F91-84DA-DBCAC581B9B2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6833" cy="464185"/>
          </a:xfrm>
          <a:prstGeom prst="rect">
            <a:avLst/>
          </a:prstGeom>
        </p:spPr>
        <p:txBody>
          <a:bodyPr vert="horz" lIns="92932" tIns="46466" rIns="92932" bIns="46466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1"/>
            <a:ext cx="3026833" cy="464185"/>
          </a:xfrm>
          <a:prstGeom prst="rect">
            <a:avLst/>
          </a:prstGeom>
        </p:spPr>
        <p:txBody>
          <a:bodyPr vert="horz" lIns="92932" tIns="46466" rIns="92932" bIns="46466" rtlCol="0"/>
          <a:lstStyle>
            <a:lvl1pPr algn="r">
              <a:defRPr sz="1200"/>
            </a:lvl1pPr>
          </a:lstStyle>
          <a:p>
            <a:fld id="{5AF6B76B-CF52-43D1-BA93-ADC75C31B438}" type="datetimeFigureOut">
              <a:rPr lang="es-MX" smtClean="0"/>
              <a:t>14/11/2021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2" tIns="46466" rIns="92932" bIns="46466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32" tIns="46466" rIns="92932" bIns="464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32" tIns="46466" rIns="92932" bIns="46466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32" tIns="46466" rIns="92932" bIns="46466" rtlCol="0" anchor="b"/>
          <a:lstStyle>
            <a:lvl1pPr algn="r">
              <a:defRPr sz="1200"/>
            </a:lvl1pPr>
          </a:lstStyle>
          <a:p>
            <a:fld id="{413DC1ED-9EEC-4373-8046-896D5094693C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12970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3DC1ED-9EEC-4373-8046-896D5094693C}" type="slidenum">
              <a:rPr lang="es-MX" smtClean="0"/>
              <a:t>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78201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7115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1D2CBB-2EB6-46BB-BB02-D689365A96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77280"/>
            <a:ext cx="10992000" cy="0"/>
          </a:xfrm>
          <a:prstGeom prst="line">
            <a:avLst/>
          </a:prstGeom>
          <a:ln w="57150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8358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943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BC9F71-6FAA-40DA-8974-07E8EB54EE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77280"/>
            <a:ext cx="11592000" cy="0"/>
          </a:xfrm>
          <a:prstGeom prst="line">
            <a:avLst/>
          </a:prstGeom>
          <a:ln w="57150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F49BB50C-DF9C-4790-8A66-A29292206E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21192" b="37437"/>
          <a:stretch/>
        </p:blipFill>
        <p:spPr>
          <a:xfrm>
            <a:off x="11418279" y="6330809"/>
            <a:ext cx="414631" cy="251553"/>
          </a:xfrm>
          <a:prstGeom prst="rect">
            <a:avLst/>
          </a:prstGeom>
        </p:spPr>
      </p:pic>
      <p:pic>
        <p:nvPicPr>
          <p:cNvPr id="9" name="Picture 317" descr="SAES Group | EMRS">
            <a:extLst>
              <a:ext uri="{FF2B5EF4-FFF2-40B4-BE49-F238E27FC236}">
                <a16:creationId xmlns:a16="http://schemas.microsoft.com/office/drawing/2014/main" id="{5562A155-4678-4839-90B4-6D3C26FE90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5737" y="6276039"/>
            <a:ext cx="318561" cy="318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562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3386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8252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433977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21F9C6-0C41-4CC1-8B8D-3F1DCCA01CF1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Box 6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079"/>
            <a:r>
              <a:rPr lang="en-GB" sz="110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>
                <a:solidFill>
                  <a:srgbClr val="808080"/>
                </a:solidFill>
              </a:rPr>
              <a:pPr defTabSz="914079"/>
              <a:t>‹#›</a:t>
            </a:fld>
            <a:endParaRPr lang="en-GB" sz="1100">
              <a:solidFill>
                <a:srgbClr val="808080"/>
              </a:solidFill>
            </a:endParaRPr>
          </a:p>
        </p:txBody>
      </p:sp>
      <p:sp>
        <p:nvSpPr>
          <p:cNvPr id="6" name="AcnSubjectTitle_ID_6" hidden="1">
            <a:extLst>
              <a:ext uri="{FF2B5EF4-FFF2-40B4-BE49-F238E27FC236}">
                <a16:creationId xmlns:a16="http://schemas.microsoft.com/office/drawing/2014/main" id="{BC45034A-7A6A-44AA-B0C6-1591EF0489A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gray">
          <a:xfrm>
            <a:off x="609600" y="1420813"/>
            <a:ext cx="69850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780" lvl="0" indent="-342780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>
                <a:solidFill>
                  <a:srgbClr val="404040"/>
                </a:solidFill>
              </a:defRPr>
            </a:lvl1pPr>
            <a:lvl2pPr marL="709364" lvl="1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>
                <a:solidFill>
                  <a:srgbClr val="404040"/>
                </a:solidFill>
              </a:defRPr>
            </a:lvl2pPr>
            <a:lvl3pPr marL="1077535" lvl="2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>
                <a:solidFill>
                  <a:srgbClr val="404040"/>
                </a:solidFill>
              </a:defRPr>
            </a:lvl3pPr>
            <a:lvl4pPr marL="1433010" lvl="3" indent="-355476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rgbClr val="404040"/>
                </a:solidFill>
              </a:defRPr>
            </a:lvl4pPr>
            <a:lvl5pPr marL="1786898" lvl="4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rgbClr val="404040"/>
                </a:solidFill>
              </a:defRPr>
            </a:lvl5pPr>
            <a:lvl6pPr marL="2513718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758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797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837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10" name="AcnFootnote_ID_10" hidden="1">
            <a:extLst>
              <a:ext uri="{FF2B5EF4-FFF2-40B4-BE49-F238E27FC236}">
                <a16:creationId xmlns:a16="http://schemas.microsoft.com/office/drawing/2014/main" id="{9D80728F-575F-4ED1-B6B1-2EFD83EB4F0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gray">
          <a:xfrm>
            <a:off x="609600" y="6254750"/>
            <a:ext cx="10972800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342780" lvl="0" indent="-342780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>
                <a:solidFill>
                  <a:srgbClr val="404040"/>
                </a:solidFill>
              </a:defRPr>
            </a:lvl1pPr>
            <a:lvl2pPr marL="709364" lvl="1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>
                <a:solidFill>
                  <a:srgbClr val="404040"/>
                </a:solidFill>
              </a:defRPr>
            </a:lvl2pPr>
            <a:lvl3pPr marL="1077535" lvl="2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>
                <a:solidFill>
                  <a:srgbClr val="404040"/>
                </a:solidFill>
              </a:defRPr>
            </a:lvl3pPr>
            <a:lvl4pPr marL="1433010" lvl="3" indent="-355476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rgbClr val="404040"/>
                </a:solidFill>
              </a:defRPr>
            </a:lvl4pPr>
            <a:lvl5pPr marL="1786898" lvl="4" indent="-353888" defTabSz="914079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rgbClr val="404040"/>
                </a:solidFill>
              </a:defRPr>
            </a:lvl5pPr>
            <a:lvl6pPr marL="2513718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758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797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837" indent="-228519" defTabSz="914079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538163" lvl="0" indent="-538163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sz="1000" b="0" i="0">
                <a:solidFill>
                  <a:schemeClr val="tx1"/>
                </a:solidFill>
              </a:rPr>
              <a:t>*	Footnote</a:t>
            </a:r>
          </a:p>
          <a:p>
            <a:pPr marL="538163" lvl="0" indent="-538163" algn="l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it-IT" sz="1000" b="0" i="0">
                <a:solidFill>
                  <a:schemeClr val="tx1"/>
                </a:solidFill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3439161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4" r:id="rId3"/>
  </p:sldLayoutIdLst>
  <p:hf sldNum="0" hdr="0" dt="0"/>
  <p:txStyles>
    <p:titleStyle>
      <a:lvl1pPr algn="l" defTabSz="914079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rgbClr val="40404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80" indent="-342780" algn="l" defTabSz="91407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rgbClr val="404040"/>
          </a:solidFill>
          <a:latin typeface="+mn-lt"/>
          <a:ea typeface="+mn-ea"/>
          <a:cs typeface="+mn-cs"/>
        </a:defRPr>
      </a:lvl1pPr>
      <a:lvl2pPr marL="709364" indent="-353888" algn="l" defTabSz="91407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rgbClr val="404040"/>
          </a:solidFill>
          <a:latin typeface="+mn-lt"/>
          <a:ea typeface="+mn-ea"/>
          <a:cs typeface="+mn-cs"/>
        </a:defRPr>
      </a:lvl2pPr>
      <a:lvl3pPr marL="1077535" indent="-353888" algn="l" defTabSz="91407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rgbClr val="404040"/>
          </a:solidFill>
          <a:latin typeface="+mn-lt"/>
          <a:ea typeface="+mn-ea"/>
          <a:cs typeface="+mn-cs"/>
        </a:defRPr>
      </a:lvl3pPr>
      <a:lvl4pPr marL="1433010" indent="-355476" algn="l" defTabSz="91407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404040"/>
          </a:solidFill>
          <a:latin typeface="+mn-lt"/>
          <a:ea typeface="+mn-ea"/>
          <a:cs typeface="+mn-cs"/>
        </a:defRPr>
      </a:lvl4pPr>
      <a:lvl5pPr marL="1786898" indent="-353888" algn="l" defTabSz="91407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404040"/>
          </a:solidFill>
          <a:latin typeface="+mn-lt"/>
          <a:ea typeface="+mn-ea"/>
          <a:cs typeface="+mn-cs"/>
        </a:defRPr>
      </a:lvl5pPr>
      <a:lvl6pPr marL="2513718" indent="-228519" algn="l" defTabSz="91407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58" indent="-228519" algn="l" defTabSz="91407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97" indent="-228519" algn="l" defTabSz="91407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37" indent="-228519" algn="l" defTabSz="91407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9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9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9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9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7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8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16" algn="l" defTabSz="9140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>
            <a:extLst>
              <a:ext uri="{FF2B5EF4-FFF2-40B4-BE49-F238E27FC236}">
                <a16:creationId xmlns:a16="http://schemas.microsoft.com/office/drawing/2014/main" id="{BD0603EA-85D6-4AE6-94A6-25C17CF30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271" y="1150284"/>
            <a:ext cx="10968812" cy="1212169"/>
          </a:xfrm>
          <a:prstGeom prst="rect">
            <a:avLst/>
          </a:prstGeom>
          <a:solidFill>
            <a:srgbClr val="FFE6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GB" sz="1799"/>
          </a:p>
        </p:txBody>
      </p:sp>
      <p:pic>
        <p:nvPicPr>
          <p:cNvPr id="15" name="Immagine 1" descr="Giovanni CASUCCI">
            <a:extLst>
              <a:ext uri="{FF2B5EF4-FFF2-40B4-BE49-F238E27FC236}">
                <a16:creationId xmlns:a16="http://schemas.microsoft.com/office/drawing/2014/main" id="{447E2FF0-9181-4B99-B251-96365B75FCF3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10" t="-1173" r="7910" b="1173"/>
          <a:stretch/>
        </p:blipFill>
        <p:spPr bwMode="auto">
          <a:xfrm>
            <a:off x="684551" y="1228700"/>
            <a:ext cx="748827" cy="103113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18C860-61BF-44A0-9FB2-43A7E51A61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571788"/>
              </p:ext>
            </p:extLst>
          </p:nvPr>
        </p:nvGraphicFramePr>
        <p:xfrm>
          <a:off x="152796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18C860-61BF-44A0-9FB2-43A7E51A6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796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00FD7EE-0FB5-47BC-826C-0822C0EB537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638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9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4271" y="114774"/>
            <a:ext cx="10537789" cy="859952"/>
          </a:xfrm>
        </p:spPr>
        <p:txBody>
          <a:bodyPr vert="horz" anchor="ctr"/>
          <a:lstStyle/>
          <a:p>
            <a:pPr>
              <a:lnSpc>
                <a:spcPct val="101000"/>
              </a:lnSpc>
            </a:pPr>
            <a:r>
              <a:rPr lang="en-US" sz="1999" dirty="0">
                <a:solidFill>
                  <a:schemeClr val="tx2"/>
                </a:solidFill>
              </a:rPr>
              <a:t>CV</a:t>
            </a:r>
            <a:br>
              <a:rPr lang="en-US" sz="1999" dirty="0">
                <a:solidFill>
                  <a:schemeClr val="tx2"/>
                </a:solidFill>
              </a:rPr>
            </a:br>
            <a:r>
              <a:rPr lang="en-US" sz="1999" dirty="0">
                <a:solidFill>
                  <a:schemeClr val="tx2"/>
                </a:solidFill>
              </a:rPr>
              <a:t>Giovanni Francesco Casucci</a:t>
            </a:r>
            <a:endParaRPr lang="es-MX" sz="1999" dirty="0">
              <a:solidFill>
                <a:schemeClr val="tx2"/>
              </a:solidFill>
            </a:endParaRP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4887BD62-FD98-43BE-9BD7-E91BFDDC9A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4101" y="1322438"/>
            <a:ext cx="7102128" cy="84594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defTabSz="453839" fontAlgn="base">
              <a:buClr>
                <a:srgbClr val="000000"/>
              </a:buClr>
              <a:buSzPct val="75000"/>
              <a:defRPr/>
            </a:pPr>
            <a:r>
              <a:rPr lang="de-DE" sz="1199" dirty="0">
                <a:solidFill>
                  <a:srgbClr val="404040"/>
                </a:solidFill>
                <a:latin typeface="EYInterstate Light" panose="02000506000000020004" pitchFamily="2" charset="0"/>
              </a:rPr>
              <a:t>Giovanni Francesco Casucci</a:t>
            </a:r>
          </a:p>
          <a:p>
            <a:pPr defTabSz="453839" fontAlgn="base">
              <a:buClr>
                <a:srgbClr val="000000"/>
              </a:buClr>
              <a:buSzPct val="75000"/>
              <a:defRPr/>
            </a:pPr>
            <a:r>
              <a:rPr lang="en-US" sz="1199" b="1" dirty="0">
                <a:solidFill>
                  <a:srgbClr val="404040"/>
                </a:solidFill>
                <a:latin typeface="EYInterstate Light" panose="02000506000000020004" pitchFamily="2" charset="0"/>
              </a:rPr>
              <a:t>Senior Lawyer – Partner – Intellectual Property Law – EY Italy Law</a:t>
            </a:r>
          </a:p>
          <a:p>
            <a:pPr defTabSz="453839" fontAlgn="base">
              <a:buClr>
                <a:srgbClr val="000000"/>
              </a:buClr>
              <a:buSzPct val="75000"/>
              <a:defRPr/>
            </a:pPr>
            <a:endParaRPr lang="en-US" sz="1199" b="1" dirty="0">
              <a:solidFill>
                <a:srgbClr val="404040"/>
              </a:solidFill>
              <a:latin typeface="EYInterstate Light" panose="02000506000000020004" pitchFamily="2" charset="0"/>
            </a:endParaRPr>
          </a:p>
          <a:p>
            <a:pPr defTabSz="45383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5000"/>
              <a:tabLst>
                <a:tab pos="378546" algn="l"/>
              </a:tabLst>
              <a:defRPr/>
            </a:pPr>
            <a:r>
              <a:rPr lang="de-DE" sz="950" dirty="0">
                <a:solidFill>
                  <a:srgbClr val="404040"/>
                </a:solidFill>
                <a:latin typeface="EYInterstate Light" panose="02000506000000020004" pitchFamily="2" charset="0"/>
              </a:rPr>
              <a:t>Tel:	+39 333 1896753 </a:t>
            </a:r>
          </a:p>
          <a:p>
            <a:pPr defTabSz="453839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75000"/>
              <a:tabLst>
                <a:tab pos="378546" algn="l"/>
              </a:tabLst>
              <a:defRPr/>
            </a:pPr>
            <a:r>
              <a:rPr lang="de-DE" sz="950" dirty="0">
                <a:solidFill>
                  <a:srgbClr val="404040"/>
                </a:solidFill>
                <a:latin typeface="EYInterstate Light" panose="02000506000000020004" pitchFamily="2" charset="0"/>
              </a:rPr>
              <a:t>Email:	giovanni.casucci@it.ey.com </a:t>
            </a: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B369C0E3-A531-4C8F-ADBF-69FD54C1EF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053" y="2746782"/>
            <a:ext cx="4247431" cy="3731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Giovanni is an experienced lawyer in intellectual property law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Before joining EY, Giovanni served as partner in several top-tier international law firms, advising entities from both private and public sector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Beside being a lawyer, he has also been External Faculty’s member of the MBA courses at MIP-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Politecnico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 of Milano for the IP issues since 2001; 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In addition, since 2008, Co-Director at the 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Politecnico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 of Milano of the Courses for the patent and trademarks attorney exam and IP professional continuing education, as well, since 2010, of the EPL - European Patent Litigation international course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Moreover, Giovanni has been Lecturer at the ICE (Italian Trade Commission) and Co-Director of the Master ICE-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IdeaCina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 about IP rights and China from 2008 to 2014 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External IP expert at the program IPR2– Beijing, external IP expert at the program IPR SME HELPDESK – Beijing, external IP expert at the program 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IPkey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– Beijing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He was coordinator of the Commissions “Design” and “Trade Fairs” at the Italian Authority for Anti Counterfeiting (CNAC), Coordinator of Centro 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Studi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 </a:t>
            </a:r>
            <a:r>
              <a:rPr lang="en-US" sz="999" dirty="0" err="1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Anticontraffazione</a:t>
            </a: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, Milano, </a:t>
            </a:r>
          </a:p>
          <a:p>
            <a:pPr marL="146534" lvl="2" indent="-146534" algn="just" defTabSz="872000" fontAlgn="base">
              <a:lnSpc>
                <a:spcPts val="1051"/>
              </a:lnSpc>
              <a:spcBef>
                <a:spcPts val="96"/>
              </a:spcBef>
              <a:spcAft>
                <a:spcPts val="600"/>
              </a:spcAft>
              <a:buClr>
                <a:srgbClr val="FFE600"/>
              </a:buClr>
              <a:buSzPct val="75000"/>
              <a:buFont typeface="Arial" pitchFamily="34" charset="0"/>
              <a:buChar char="►"/>
              <a:tabLst>
                <a:tab pos="2828782" algn="l"/>
                <a:tab pos="4087409" algn="r"/>
              </a:tabLst>
              <a:defRPr/>
            </a:pPr>
            <a:r>
              <a:rPr lang="en-US" sz="999" dirty="0">
                <a:solidFill>
                  <a:schemeClr val="tx2"/>
                </a:solidFill>
                <a:latin typeface="EYInterstate Light" pitchFamily="2" charset="0"/>
                <a:cs typeface="Arial" charset="0"/>
              </a:rPr>
              <a:t>Languages: Italian, English, French</a:t>
            </a: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9DC16683-AA02-45EB-89D7-D7249B271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5310" y="2701013"/>
            <a:ext cx="6547772" cy="3347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118" lvl="2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endParaRPr lang="en-US" sz="999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171118" lvl="2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Giovanni assists regularly domestic and international companies in matters related to intellectual property worldwide both an extrajudicial and judicial levels and holds a strong track record. As a matter of example, he has assisted: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US shoe-maker Timberland for parallel imports issues in EU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Chinese car company Great Wall Motors before the Court of Turin in the case against FIAT about the Panda registered design and the supposed infringement of Peri car model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Italian Steel production plants </a:t>
            </a:r>
            <a:r>
              <a:rPr lang="en-US" sz="999" kern="0" dirty="0" err="1">
                <a:solidFill>
                  <a:schemeClr val="tx2"/>
                </a:solidFill>
                <a:latin typeface="EYInterstate Light" panose="02000506000000020004" pitchFamily="2" charset="0"/>
              </a:rPr>
              <a:t>Danieli</a:t>
            </a: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 Officine Meccaniche against CONCAST on a patent Litigation 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German medical technology company </a:t>
            </a:r>
            <a:r>
              <a:rPr lang="en-US" sz="999" kern="0" dirty="0" err="1">
                <a:solidFill>
                  <a:schemeClr val="tx2"/>
                </a:solidFill>
                <a:latin typeface="EYInterstate Light" panose="02000506000000020004" pitchFamily="2" charset="0"/>
              </a:rPr>
              <a:t>Occlutech</a:t>
            </a: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 in the milestone patent litigation against AGA on equivalency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Italy-based lighting company </a:t>
            </a:r>
            <a:r>
              <a:rPr lang="en-US" sz="999" kern="0" dirty="0" err="1">
                <a:solidFill>
                  <a:schemeClr val="tx2"/>
                </a:solidFill>
                <a:latin typeface="EYInterstate Light" panose="02000506000000020004" pitchFamily="2" charset="0"/>
              </a:rPr>
              <a:t>Flos</a:t>
            </a: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 before the ECJ in the milestone case against Semeraro about copyright and design 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Italian design producer Thun before the Italian Supreme Court in the milestone case against Egan about copyright and design 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Italian fashion producer Diesel before the Court of Milan in the worldwide famous case against Zara group</a:t>
            </a:r>
          </a:p>
          <a:p>
            <a:pPr marL="628090" lvl="3" indent="-171118" algn="just" defTabSz="941149" fontAlgn="base">
              <a:lnSpc>
                <a:spcPts val="1134"/>
              </a:lnSpc>
              <a:spcBef>
                <a:spcPts val="104"/>
              </a:spcBef>
              <a:spcAft>
                <a:spcPts val="648"/>
              </a:spcAft>
              <a:buClr>
                <a:srgbClr val="FFE600"/>
              </a:buClr>
              <a:buSzPct val="75000"/>
              <a:buFont typeface="EYInterstate" pitchFamily="2" charset="0"/>
              <a:buChar char="►"/>
              <a:tabLst>
                <a:tab pos="3053105" algn="l"/>
                <a:tab pos="4411541" algn="r"/>
              </a:tabLst>
              <a:defRPr/>
            </a:pPr>
            <a:r>
              <a:rPr lang="en-US" sz="999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US street-wear Chapter 4 Supreme before the Italian and San Marino Courts against several infringements' cases and the worldwide famous case “Supreme Italy” </a:t>
            </a:r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BA76937A-0D66-4098-A4BA-D4C27A47DC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4551" y="2491215"/>
            <a:ext cx="3474206" cy="199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  <a:buFont typeface="Arial Unicode MS" pitchFamily="34" charset="-128"/>
              <a:buNone/>
            </a:pPr>
            <a:r>
              <a:rPr lang="it-IT" sz="1299" b="1" dirty="0">
                <a:solidFill>
                  <a:schemeClr val="tx2"/>
                </a:solidFill>
                <a:latin typeface="EYInterstate" pitchFamily="2" charset="0"/>
                <a:cs typeface="Arial" charset="0"/>
                <a:sym typeface="Arial Unicode MS" pitchFamily="34" charset="-128"/>
              </a:rPr>
              <a:t>Background and skills</a:t>
            </a: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51180CC9-6A38-4CCA-A256-2BF4038EAC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75311" y="2492717"/>
            <a:ext cx="3472391" cy="199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spcAft>
                <a:spcPct val="40000"/>
              </a:spcAft>
              <a:buClr>
                <a:schemeClr val="tx2"/>
              </a:buClr>
              <a:buSzPct val="75000"/>
            </a:pPr>
            <a:r>
              <a:rPr lang="it-IT" sz="1299" b="1" dirty="0">
                <a:solidFill>
                  <a:schemeClr val="tx2"/>
                </a:solidFill>
                <a:latin typeface="EYInterstate" pitchFamily="2" charset="0"/>
                <a:cs typeface="Arial" charset="0"/>
                <a:sym typeface="Arial Unicode MS" pitchFamily="34" charset="-128"/>
              </a:rPr>
              <a:t>Professional </a:t>
            </a:r>
            <a:r>
              <a:rPr lang="it-IT" sz="1299" b="1" dirty="0" err="1">
                <a:solidFill>
                  <a:schemeClr val="tx2"/>
                </a:solidFill>
                <a:latin typeface="EYInterstate" pitchFamily="2" charset="0"/>
                <a:cs typeface="Arial" charset="0"/>
                <a:sym typeface="Arial Unicode MS" pitchFamily="34" charset="-128"/>
              </a:rPr>
              <a:t>experience</a:t>
            </a:r>
            <a:endParaRPr lang="it-IT" sz="1299" b="1" dirty="0">
              <a:solidFill>
                <a:schemeClr val="tx2"/>
              </a:solidFill>
              <a:latin typeface="EYInterstate" pitchFamily="2" charset="0"/>
              <a:cs typeface="Arial" charset="0"/>
              <a:sym typeface="Arial Unicode MS" pitchFamily="34" charset="-128"/>
            </a:endParaRP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BADF08F7-6095-4F91-84DA-DBCAC581B9B2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506" y="1551043"/>
            <a:ext cx="527050" cy="4762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4724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CC&quot; g=&quot;CC&quot; b=&quot;CC&quot;/&gt;&lt;/elem&gt;&lt;elem m_fUsage=&quot;9.00000000000000022204E-01&quot;&gt;&lt;m_msothmcolidx val=&quot;0&quot;/&gt;&lt;m_rgb r=&quot;FF&quot; g=&quot;FA&quot; b=&quot;C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XBCTIg2gFaQqTkIIZA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Ua9aU_H2hxo4LQNAl6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8/04/2020 19:09:5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18/04/2020 19:09:5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qxgKNO075rHmx5C9D3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vUrvP6MpliO3dAwJZmqA"/>
</p:tagLst>
</file>

<file path=ppt/theme/theme1.xml><?xml version="1.0" encoding="utf-8"?>
<a:theme xmlns:a="http://schemas.openxmlformats.org/drawingml/2006/main" name="EY_regular_presentation_2007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0196A3617B4C499C10A8877519638B" ma:contentTypeVersion="12" ma:contentTypeDescription="Create a new document." ma:contentTypeScope="" ma:versionID="701b4a55716a6959b65d3f04cd53883e">
  <xsd:schema xmlns:xsd="http://www.w3.org/2001/XMLSchema" xmlns:xs="http://www.w3.org/2001/XMLSchema" xmlns:p="http://schemas.microsoft.com/office/2006/metadata/properties" xmlns:ns3="c9bd7182-5759-43cd-ab18-7e51d86f0b67" xmlns:ns4="bd1abd9e-d2c7-45b8-88f0-f183b0f1e3cc" targetNamespace="http://schemas.microsoft.com/office/2006/metadata/properties" ma:root="true" ma:fieldsID="0c6c4f6d7205e0de2833fed84f74cb46" ns3:_="" ns4:_="">
    <xsd:import namespace="c9bd7182-5759-43cd-ab18-7e51d86f0b67"/>
    <xsd:import namespace="bd1abd9e-d2c7-45b8-88f0-f183b0f1e3c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bd7182-5759-43cd-ab18-7e51d86f0b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1abd9e-d2c7-45b8-88f0-f183b0f1e3c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2D3805-C1EF-42D9-9CBA-03FE03EAC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bd7182-5759-43cd-ab18-7e51d86f0b67"/>
    <ds:schemaRef ds:uri="bd1abd9e-d2c7-45b8-88f0-f183b0f1e3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7B34AB-A023-4171-AA7B-FDB71ABB8434}">
  <ds:schemaRefs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bd1abd9e-d2c7-45b8-88f0-f183b0f1e3cc"/>
    <ds:schemaRef ds:uri="c9bd7182-5759-43cd-ab18-7e51d86f0b67"/>
  </ds:schemaRefs>
</ds:datastoreItem>
</file>

<file path=customXml/itemProps3.xml><?xml version="1.0" encoding="utf-8"?>
<ds:datastoreItem xmlns:ds="http://schemas.openxmlformats.org/officeDocument/2006/customXml" ds:itemID="{28CAF6FC-4081-4853-8BA7-4ABAEADF07AF}">
  <ds:schemaRefs>
    <ds:schemaRef ds:uri="http://schemas.microsoft.com/sharepoint/v3/contenttype/forms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90658</vt:lpwstr>
  </property>
  <property fmtid="{D5CDD505-2E9C-101B-9397-08002B2CF9AE}" pid="4" name="OptimizationTime">
    <vt:lpwstr>20220502_0906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otalTime>6130</TotalTime>
  <Words>427</Words>
  <Application>Microsoft Office PowerPoint</Application>
  <PresentationFormat>Widescreen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Unicode MS</vt:lpstr>
      <vt:lpstr>Calibri</vt:lpstr>
      <vt:lpstr>EYInterstate</vt:lpstr>
      <vt:lpstr>EYInterstate Light</vt:lpstr>
      <vt:lpstr>EY_regular_presentation_2007</vt:lpstr>
      <vt:lpstr>think-cell Slide</vt:lpstr>
      <vt:lpstr>CV Giovanni Francesco Casucci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ation of Shared Services in Grupo Bimbo (“GB”)</dc:title>
  <dc:creator>Omar A Lesage Almanza</dc:creator>
  <cp:lastModifiedBy>Giovanni Francesco Casucci</cp:lastModifiedBy>
  <cp:revision>241</cp:revision>
  <cp:lastPrinted>2020-05-08T11:14:54Z</cp:lastPrinted>
  <dcterms:created xsi:type="dcterms:W3CDTF">2014-04-16T16:03:26Z</dcterms:created>
  <dcterms:modified xsi:type="dcterms:W3CDTF">2021-11-14T17:1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0196A3617B4C499C10A8877519638B</vt:lpwstr>
  </property>
</Properties>
</file>